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6" r:id="rId1"/>
  </p:sldMasterIdLst>
  <p:notesMasterIdLst>
    <p:notesMasterId r:id="rId3"/>
  </p:notesMasterIdLst>
  <p:handoutMasterIdLst>
    <p:handoutMasterId r:id="rId4"/>
  </p:handoutMasterIdLst>
  <p:sldIdLst>
    <p:sldId id="513" r:id="rId2"/>
  </p:sldIdLst>
  <p:sldSz cx="9144000" cy="6858000" type="screen4x3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2880" userDrawn="1">
          <p15:clr>
            <a:srgbClr val="A4A3A4"/>
          </p15:clr>
        </p15:guide>
        <p15:guide id="3" orient="horz" pos="3784" userDrawn="1">
          <p15:clr>
            <a:srgbClr val="A4A3A4"/>
          </p15:clr>
        </p15:guide>
        <p15:guide id="4" orient="horz" pos="944" userDrawn="1">
          <p15:clr>
            <a:srgbClr val="A4A3A4"/>
          </p15:clr>
        </p15:guide>
        <p15:guide id="5" pos="414" userDrawn="1">
          <p15:clr>
            <a:srgbClr val="A4A3A4"/>
          </p15:clr>
        </p15:guide>
        <p15:guide id="6" pos="5459" userDrawn="1">
          <p15:clr>
            <a:srgbClr val="A4A3A4"/>
          </p15:clr>
        </p15:guide>
        <p15:guide id="7" pos="2963" userDrawn="1">
          <p15:clr>
            <a:srgbClr val="A4A3A4"/>
          </p15:clr>
        </p15:guide>
        <p15:guide id="8" orient="horz" pos="3264" userDrawn="1">
          <p15:clr>
            <a:srgbClr val="A4A3A4"/>
          </p15:clr>
        </p15:guide>
        <p15:guide id="9" orient="horz" pos="1253" userDrawn="1">
          <p15:clr>
            <a:srgbClr val="A4A3A4"/>
          </p15:clr>
        </p15:guide>
        <p15:guide id="10" pos="4464" userDrawn="1">
          <p15:clr>
            <a:srgbClr val="A4A3A4"/>
          </p15:clr>
        </p15:guide>
        <p15:guide id="11" pos="3401" userDrawn="1">
          <p15:clr>
            <a:srgbClr val="A4A3A4"/>
          </p15:clr>
        </p15:guide>
        <p15:guide id="12" pos="417" userDrawn="1">
          <p15:clr>
            <a:srgbClr val="A4A3A4"/>
          </p15:clr>
        </p15:guide>
        <p15:guide id="13" pos="591" userDrawn="1">
          <p15:clr>
            <a:srgbClr val="A4A3A4"/>
          </p15:clr>
        </p15:guide>
        <p15:guide id="14" pos="544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0000"/>
    <a:srgbClr val="E64B00"/>
    <a:srgbClr val="FFDF7F"/>
    <a:srgbClr val="FFFFFF"/>
    <a:srgbClr val="FF9900"/>
    <a:srgbClr val="E7FFB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17292A2E-F333-43FB-9621-5CBBE7FDCDCB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7292A2E-F333-43FB-9621-5CBBE7FDCDCB}" styleName="Helle Formatvorlage 2 - Akz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2374" autoAdjust="0"/>
    <p:restoredTop sz="95280" autoAdjust="0"/>
  </p:normalViewPr>
  <p:slideViewPr>
    <p:cSldViewPr snapToGrid="0" showGuides="1">
      <p:cViewPr varScale="1">
        <p:scale>
          <a:sx n="110" d="100"/>
          <a:sy n="110" d="100"/>
        </p:scale>
        <p:origin x="1830" y="114"/>
      </p:cViewPr>
      <p:guideLst>
        <p:guide orient="horz" pos="2160"/>
        <p:guide pos="2880"/>
        <p:guide orient="horz" pos="3784"/>
        <p:guide orient="horz" pos="944"/>
        <p:guide pos="414"/>
        <p:guide pos="5459"/>
        <p:guide pos="2963"/>
        <p:guide orient="horz" pos="3264"/>
        <p:guide orient="horz" pos="1253"/>
        <p:guide pos="4464"/>
        <p:guide pos="3401"/>
        <p:guide pos="417"/>
        <p:guide pos="591"/>
        <p:guide pos="5442"/>
      </p:guideLst>
    </p:cSldViewPr>
  </p:slideViewPr>
  <p:outlineViewPr>
    <p:cViewPr>
      <p:scale>
        <a:sx n="33" d="100"/>
        <a:sy n="33" d="100"/>
      </p:scale>
      <p:origin x="0" y="-25277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>
      <p:cViewPr>
        <p:scale>
          <a:sx n="125" d="100"/>
          <a:sy n="125" d="100"/>
        </p:scale>
        <p:origin x="-1932" y="2016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 dirty="0"/>
              <a:t>Header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EE4A28-8FCA-4B67-B71F-4BF329E9D0A8}" type="datetimeFigureOut">
              <a:rPr lang="en-GB" smtClean="0"/>
              <a:t>09/06/2021</a:t>
            </a:fld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 err="1"/>
              <a:t>Footer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D56195-1E08-4783-B4AA-F0F0BB98C85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68775302"/>
      </p:ext>
    </p:extLst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GB" dirty="0"/>
              <a:t>Head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6EF99F-C35D-4FF2-845E-FCCC5818ED60}" type="datetimeFigureOut">
              <a:rPr lang="en-GB" smtClean="0"/>
              <a:t>09/06/2021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352550" y="842963"/>
            <a:ext cx="4152900" cy="31146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34715" y="4197246"/>
            <a:ext cx="5988570" cy="4260954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F733B7-1873-49FD-B258-2C7BB301EFB3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9245064"/>
      </p:ext>
    </p:extLst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10" name="Inhaltsplatzhalter 9"/>
          <p:cNvSpPr>
            <a:spLocks noGrp="1"/>
          </p:cNvSpPr>
          <p:nvPr>
            <p:ph sz="quarter" idx="11"/>
          </p:nvPr>
        </p:nvSpPr>
        <p:spPr>
          <a:xfrm>
            <a:off x="647700" y="1485901"/>
            <a:ext cx="7993063" cy="4498974"/>
          </a:xfrm>
        </p:spPr>
        <p:txBody>
          <a:bodyPr/>
          <a:lstStyle>
            <a:lvl2pPr>
              <a:buClr>
                <a:schemeClr val="accent4"/>
              </a:buClr>
              <a:defRPr/>
            </a:lvl2pPr>
            <a:lvl3pPr>
              <a:buClr>
                <a:schemeClr val="accent4"/>
              </a:buClr>
              <a:defRPr/>
            </a:lvl3pPr>
            <a:lvl4pPr>
              <a:buClr>
                <a:schemeClr val="accent4"/>
              </a:buClr>
              <a:defRPr/>
            </a:lvl4pPr>
            <a:lvl5pPr>
              <a:buClr>
                <a:schemeClr val="accent4"/>
              </a:buClr>
              <a:defRPr/>
            </a:lvl5pPr>
          </a:lstStyle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402731699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27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423103348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heme" Target="../theme/theme1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5" Type="http://schemas.openxmlformats.org/officeDocument/2006/relationships/tags" Target="../tags/tag2.xml"/><Relationship Id="rId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kt 84" hidden="1">
            <a:extLst>
              <a:ext uri="{FF2B5EF4-FFF2-40B4-BE49-F238E27FC236}">
                <a16:creationId xmlns:a16="http://schemas.microsoft.com/office/drawing/2014/main" id="{53237C02-D8E7-4C9D-A9AB-C935D3E694FD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10" name="think-cell Folie" r:id="rId7" imgW="360" imgH="360" progId="TCLayout.ActiveDocument.1">
                  <p:embed/>
                </p:oleObj>
              </mc:Choice>
              <mc:Fallback>
                <p:oleObj name="think-cell Folie" r:id="rId7" imgW="360" imgH="360" progId="TCLayout.ActiveDocument.1">
                  <p:embed/>
                  <p:pic>
                    <p:nvPicPr>
                      <p:cNvPr id="1026" name="Objekt 84" hidden="1">
                        <a:extLst>
                          <a:ext uri="{FF2B5EF4-FFF2-40B4-BE49-F238E27FC236}">
                            <a16:creationId xmlns:a16="http://schemas.microsoft.com/office/drawing/2014/main" id="{53237C02-D8E7-4C9D-A9AB-C935D3E694F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Titelplatzhalter 1">
            <a:extLst>
              <a:ext uri="{FF2B5EF4-FFF2-40B4-BE49-F238E27FC236}">
                <a16:creationId xmlns:a16="http://schemas.microsoft.com/office/drawing/2014/main" id="{A2235726-AE76-45F4-BE46-9738A32743CA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647700" y="334963"/>
            <a:ext cx="7994650" cy="461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fr-FR" altLang="fr-FR" noProof="1"/>
              <a:t>Titelmasterformat durch Klicken bearbeiten</a:t>
            </a:r>
            <a:endParaRPr lang="en-GB" altLang="fr-FR"/>
          </a:p>
        </p:txBody>
      </p:sp>
      <p:sp>
        <p:nvSpPr>
          <p:cNvPr id="1028" name="Textplatzhalter 2">
            <a:extLst>
              <a:ext uri="{FF2B5EF4-FFF2-40B4-BE49-F238E27FC236}">
                <a16:creationId xmlns:a16="http://schemas.microsoft.com/office/drawing/2014/main" id="{6FE2309C-8D81-43C3-A085-42A0B3AF7D0E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xfrm>
            <a:off x="647700" y="1485900"/>
            <a:ext cx="7993063" cy="4498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fr-FR" noProof="1"/>
              <a:t>Click to edit text style</a:t>
            </a:r>
          </a:p>
          <a:p>
            <a:pPr lvl="1"/>
            <a:r>
              <a:rPr lang="en-GB" altLang="fr-FR"/>
              <a:t>Second level</a:t>
            </a:r>
          </a:p>
          <a:p>
            <a:pPr lvl="2"/>
            <a:r>
              <a:rPr lang="en-GB" altLang="fr-FR"/>
              <a:t>Third level</a:t>
            </a:r>
          </a:p>
          <a:p>
            <a:pPr lvl="3"/>
            <a:r>
              <a:rPr lang="en-GB" altLang="fr-FR"/>
              <a:t>Forth level</a:t>
            </a:r>
          </a:p>
          <a:p>
            <a:pPr lvl="4"/>
            <a:r>
              <a:rPr lang="en-GB" altLang="fr-FR"/>
              <a:t>Fifth level</a:t>
            </a:r>
          </a:p>
        </p:txBody>
      </p:sp>
      <p:sp>
        <p:nvSpPr>
          <p:cNvPr id="86" name="Footer Placeholder 3">
            <a:extLst>
              <a:ext uri="{FF2B5EF4-FFF2-40B4-BE49-F238E27FC236}">
                <a16:creationId xmlns:a16="http://schemas.microsoft.com/office/drawing/2014/main" id="{B63174A3-CFC9-46EE-9395-3D308967C173}"/>
              </a:ext>
            </a:extLst>
          </p:cNvPr>
          <p:cNvSpPr txBox="1">
            <a:spLocks/>
          </p:cNvSpPr>
          <p:nvPr/>
        </p:nvSpPr>
        <p:spPr>
          <a:xfrm>
            <a:off x="1377950" y="6472238"/>
            <a:ext cx="11414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Title, </a:t>
            </a:r>
            <a:fld id="{AF6A7A01-F0BB-4441-BAB9-3E7CB064C4A1}" type="datetime4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09 June 2021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87" name="Slide Number Placeholder 4">
            <a:extLst>
              <a:ext uri="{FF2B5EF4-FFF2-40B4-BE49-F238E27FC236}">
                <a16:creationId xmlns:a16="http://schemas.microsoft.com/office/drawing/2014/main" id="{6D3032E0-635E-4A3F-B457-330E5A29BDB0}"/>
              </a:ext>
            </a:extLst>
          </p:cNvPr>
          <p:cNvSpPr txBox="1">
            <a:spLocks/>
          </p:cNvSpPr>
          <p:nvPr/>
        </p:nvSpPr>
        <p:spPr>
          <a:xfrm>
            <a:off x="647700" y="6472238"/>
            <a:ext cx="4429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Page </a:t>
            </a:r>
            <a:fld id="{D3B48D69-34C4-4A99-BF76-BDD6DBE56BEE}" type="slidenum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grpSp>
        <p:nvGrpSpPr>
          <p:cNvPr id="1031" name="Group 7">
            <a:extLst>
              <a:ext uri="{FF2B5EF4-FFF2-40B4-BE49-F238E27FC236}">
                <a16:creationId xmlns:a16="http://schemas.microsoft.com/office/drawing/2014/main" id="{6E1FE47B-AE08-4085-A66B-06C06BF268DB}"/>
              </a:ext>
            </a:extLst>
          </p:cNvPr>
          <p:cNvGrpSpPr>
            <a:grpSpLocks/>
          </p:cNvGrpSpPr>
          <p:nvPr/>
        </p:nvGrpSpPr>
        <p:grpSpPr bwMode="auto">
          <a:xfrm>
            <a:off x="7723188" y="6499225"/>
            <a:ext cx="920750" cy="252413"/>
            <a:chOff x="1005" y="1644"/>
            <a:chExt cx="3749" cy="1030"/>
          </a:xfrm>
        </p:grpSpPr>
        <p:sp>
          <p:nvSpPr>
            <p:cNvPr id="1034" name="Freeform 8">
              <a:extLst>
                <a:ext uri="{FF2B5EF4-FFF2-40B4-BE49-F238E27FC236}">
                  <a16:creationId xmlns:a16="http://schemas.microsoft.com/office/drawing/2014/main" id="{7490D156-6ECB-4057-9C32-A935F638300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035" name="Freeform 9">
              <a:extLst>
                <a:ext uri="{FF2B5EF4-FFF2-40B4-BE49-F238E27FC236}">
                  <a16:creationId xmlns:a16="http://schemas.microsoft.com/office/drawing/2014/main" id="{953D35AA-C602-4B69-A604-A4CCBA65CB1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1869841757 w 501"/>
                <a:gd name="T1" fmla="*/ 1659837019 h 429"/>
                <a:gd name="T2" fmla="*/ 1764144785 w 501"/>
                <a:gd name="T3" fmla="*/ 1521425573 h 429"/>
                <a:gd name="T4" fmla="*/ 1725057837 w 501"/>
                <a:gd name="T5" fmla="*/ 1469247882 h 429"/>
                <a:gd name="T6" fmla="*/ 1499934531 w 501"/>
                <a:gd name="T7" fmla="*/ 1361880031 h 429"/>
                <a:gd name="T8" fmla="*/ 1208442835 w 501"/>
                <a:gd name="T9" fmla="*/ 1659837019 h 429"/>
                <a:gd name="T10" fmla="*/ 1499934531 w 501"/>
                <a:gd name="T11" fmla="*/ 1951342137 h 429"/>
                <a:gd name="T12" fmla="*/ 1725057837 w 501"/>
                <a:gd name="T13" fmla="*/ 1845836989 h 429"/>
                <a:gd name="T14" fmla="*/ 1764144785 w 501"/>
                <a:gd name="T15" fmla="*/ 1792865048 h 429"/>
                <a:gd name="T16" fmla="*/ 1869841757 w 501"/>
                <a:gd name="T17" fmla="*/ 1659837019 h 429"/>
                <a:gd name="T18" fmla="*/ 844430463 w 501"/>
                <a:gd name="T19" fmla="*/ 1653081009 h 429"/>
                <a:gd name="T20" fmla="*/ 1499934531 w 501"/>
                <a:gd name="T21" fmla="*/ 995327786 h 429"/>
                <a:gd name="T22" fmla="*/ 2000652606 w 501"/>
                <a:gd name="T23" fmla="*/ 1229070891 h 429"/>
                <a:gd name="T24" fmla="*/ 2004353788 w 501"/>
                <a:gd name="T25" fmla="*/ 1240249847 h 429"/>
                <a:gd name="T26" fmla="*/ 2015706786 w 501"/>
                <a:gd name="T27" fmla="*/ 1235513344 h 429"/>
                <a:gd name="T28" fmla="*/ 1300958765 w 501"/>
                <a:gd name="T29" fmla="*/ 0 h 429"/>
                <a:gd name="T30" fmla="*/ 0 w 501"/>
                <a:gd name="T31" fmla="*/ 2147483646 h 429"/>
                <a:gd name="T32" fmla="*/ 1270102821 w 501"/>
                <a:gd name="T33" fmla="*/ 2147483646 h 429"/>
                <a:gd name="T34" fmla="*/ 1276833177 w 501"/>
                <a:gd name="T35" fmla="*/ 2147483646 h 429"/>
                <a:gd name="T36" fmla="*/ 1145170959 w 501"/>
                <a:gd name="T37" fmla="*/ 2147483646 h 429"/>
                <a:gd name="T38" fmla="*/ 844430463 w 501"/>
                <a:gd name="T39" fmla="*/ 1653081009 h 429"/>
                <a:gd name="T40" fmla="*/ 2147483646 w 501"/>
                <a:gd name="T41" fmla="*/ 2147483646 h 429"/>
                <a:gd name="T42" fmla="*/ 2147483646 w 501"/>
                <a:gd name="T43" fmla="*/ 2147483646 h 429"/>
                <a:gd name="T44" fmla="*/ 2107862744 w 501"/>
                <a:gd name="T45" fmla="*/ 1944597706 h 429"/>
                <a:gd name="T46" fmla="*/ 1978183592 w 501"/>
                <a:gd name="T47" fmla="*/ 2110879886 h 429"/>
                <a:gd name="T48" fmla="*/ 1733656531 w 501"/>
                <a:gd name="T49" fmla="*/ 2147483646 h 429"/>
                <a:gd name="T50" fmla="*/ 1733656531 w 501"/>
                <a:gd name="T51" fmla="*/ 2147483646 h 429"/>
                <a:gd name="T52" fmla="*/ 2147483646 w 501"/>
                <a:gd name="T53" fmla="*/ 2147483646 h 429"/>
                <a:gd name="T54" fmla="*/ 2147483646 w 501"/>
                <a:gd name="T55" fmla="*/ 2147483646 h 429"/>
                <a:gd name="T56" fmla="*/ 2147483646 w 501"/>
                <a:gd name="T57" fmla="*/ 2147483646 h 429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036" name="Freeform 10">
              <a:extLst>
                <a:ext uri="{FF2B5EF4-FFF2-40B4-BE49-F238E27FC236}">
                  <a16:creationId xmlns:a16="http://schemas.microsoft.com/office/drawing/2014/main" id="{BB852431-5053-4CB9-BD3B-B3CFC9A75F4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901767805 w 937"/>
                <a:gd name="T1" fmla="*/ 711138951 h 326"/>
                <a:gd name="T2" fmla="*/ 410687662 w 937"/>
                <a:gd name="T3" fmla="*/ 465599188 h 326"/>
                <a:gd name="T4" fmla="*/ 658110446 w 937"/>
                <a:gd name="T5" fmla="*/ 276863184 h 326"/>
                <a:gd name="T6" fmla="*/ 978929204 w 937"/>
                <a:gd name="T7" fmla="*/ 522757726 h 326"/>
                <a:gd name="T8" fmla="*/ 1334169885 w 937"/>
                <a:gd name="T9" fmla="*/ 522757726 h 326"/>
                <a:gd name="T10" fmla="*/ 673981114 w 937"/>
                <a:gd name="T11" fmla="*/ 0 h 326"/>
                <a:gd name="T12" fmla="*/ 62385095 w 937"/>
                <a:gd name="T13" fmla="*/ 491791576 h 326"/>
                <a:gd name="T14" fmla="*/ 548530255 w 937"/>
                <a:gd name="T15" fmla="*/ 957093254 h 326"/>
                <a:gd name="T16" fmla="*/ 1037599821 w 937"/>
                <a:gd name="T17" fmla="*/ 1225687750 h 326"/>
                <a:gd name="T18" fmla="*/ 715650536 w 937"/>
                <a:gd name="T19" fmla="*/ 1429016220 h 326"/>
                <a:gd name="T20" fmla="*/ 352033256 w 937"/>
                <a:gd name="T21" fmla="*/ 1125932337 h 326"/>
                <a:gd name="T22" fmla="*/ 4728972 w 937"/>
                <a:gd name="T23" fmla="*/ 1125932337 h 326"/>
                <a:gd name="T24" fmla="*/ 707117927 w 937"/>
                <a:gd name="T25" fmla="*/ 1706716319 h 326"/>
                <a:gd name="T26" fmla="*/ 1384902835 w 937"/>
                <a:gd name="T27" fmla="*/ 1183118711 h 326"/>
                <a:gd name="T28" fmla="*/ 901767805 w 937"/>
                <a:gd name="T29" fmla="*/ 711138951 h 326"/>
                <a:gd name="T30" fmla="*/ 2147483646 w 937"/>
                <a:gd name="T31" fmla="*/ 634436110 h 326"/>
                <a:gd name="T32" fmla="*/ 2147483646 w 937"/>
                <a:gd name="T33" fmla="*/ 634436110 h 326"/>
                <a:gd name="T34" fmla="*/ 2147483646 w 937"/>
                <a:gd name="T35" fmla="*/ 454108485 h 326"/>
                <a:gd name="T36" fmla="*/ 1972169981 w 937"/>
                <a:gd name="T37" fmla="*/ 1067889945 h 326"/>
                <a:gd name="T38" fmla="*/ 2147483646 w 937"/>
                <a:gd name="T39" fmla="*/ 1702328018 h 326"/>
                <a:gd name="T40" fmla="*/ 2147483646 w 937"/>
                <a:gd name="T41" fmla="*/ 1518287469 h 326"/>
                <a:gd name="T42" fmla="*/ 2147483646 w 937"/>
                <a:gd name="T43" fmla="*/ 1518287469 h 326"/>
                <a:gd name="T44" fmla="*/ 2147483646 w 937"/>
                <a:gd name="T45" fmla="*/ 1669346971 h 326"/>
                <a:gd name="T46" fmla="*/ 2147483646 w 937"/>
                <a:gd name="T47" fmla="*/ 1669346971 h 326"/>
                <a:gd name="T48" fmla="*/ 2147483646 w 937"/>
                <a:gd name="T49" fmla="*/ 42033339 h 326"/>
                <a:gd name="T50" fmla="*/ 2147483646 w 937"/>
                <a:gd name="T51" fmla="*/ 42033339 h 326"/>
                <a:gd name="T52" fmla="*/ 2147483646 w 937"/>
                <a:gd name="T53" fmla="*/ 634436110 h 326"/>
                <a:gd name="T54" fmla="*/ 2147483646 w 937"/>
                <a:gd name="T55" fmla="*/ 1456419223 h 326"/>
                <a:gd name="T56" fmla="*/ 2147483646 w 937"/>
                <a:gd name="T57" fmla="*/ 1078984554 h 326"/>
                <a:gd name="T58" fmla="*/ 2147483646 w 937"/>
                <a:gd name="T59" fmla="*/ 702723735 h 326"/>
                <a:gd name="T60" fmla="*/ 2147483646 w 937"/>
                <a:gd name="T61" fmla="*/ 1072587526 h 326"/>
                <a:gd name="T62" fmla="*/ 2147483646 w 937"/>
                <a:gd name="T63" fmla="*/ 1456419223 h 326"/>
                <a:gd name="T64" fmla="*/ 2147483646 w 937"/>
                <a:gd name="T65" fmla="*/ 454108485 h 326"/>
                <a:gd name="T66" fmla="*/ 2147483646 w 937"/>
                <a:gd name="T67" fmla="*/ 1078984554 h 326"/>
                <a:gd name="T68" fmla="*/ 2147483646 w 937"/>
                <a:gd name="T69" fmla="*/ 1702328018 h 326"/>
                <a:gd name="T70" fmla="*/ 2147483646 w 937"/>
                <a:gd name="T71" fmla="*/ 1303534835 h 326"/>
                <a:gd name="T72" fmla="*/ 2147483646 w 937"/>
                <a:gd name="T73" fmla="*/ 1303534835 h 326"/>
                <a:gd name="T74" fmla="*/ 2147483646 w 937"/>
                <a:gd name="T75" fmla="*/ 1456419223 h 326"/>
                <a:gd name="T76" fmla="*/ 2147483646 w 937"/>
                <a:gd name="T77" fmla="*/ 1156886564 h 326"/>
                <a:gd name="T78" fmla="*/ 2147483646 w 937"/>
                <a:gd name="T79" fmla="*/ 1156886564 h 326"/>
                <a:gd name="T80" fmla="*/ 2147483646 w 937"/>
                <a:gd name="T81" fmla="*/ 454108485 h 326"/>
                <a:gd name="T82" fmla="*/ 2147483646 w 937"/>
                <a:gd name="T83" fmla="*/ 953533546 h 326"/>
                <a:gd name="T84" fmla="*/ 2147483646 w 937"/>
                <a:gd name="T85" fmla="*/ 702723735 h 326"/>
                <a:gd name="T86" fmla="*/ 2147483646 w 937"/>
                <a:gd name="T87" fmla="*/ 953533546 h 326"/>
                <a:gd name="T88" fmla="*/ 2147483646 w 937"/>
                <a:gd name="T89" fmla="*/ 953533546 h 326"/>
                <a:gd name="T90" fmla="*/ 2147483646 w 937"/>
                <a:gd name="T91" fmla="*/ 1669346971 h 326"/>
                <a:gd name="T92" fmla="*/ 2147483646 w 937"/>
                <a:gd name="T93" fmla="*/ 1669346971 h 326"/>
                <a:gd name="T94" fmla="*/ 2147483646 w 937"/>
                <a:gd name="T95" fmla="*/ 42033339 h 326"/>
                <a:gd name="T96" fmla="*/ 2147483646 w 937"/>
                <a:gd name="T97" fmla="*/ 42033339 h 326"/>
                <a:gd name="T98" fmla="*/ 2147483646 w 937"/>
                <a:gd name="T99" fmla="*/ 1669346971 h 326"/>
                <a:gd name="T100" fmla="*/ 1507507815 w 937"/>
                <a:gd name="T101" fmla="*/ 1669346971 h 326"/>
                <a:gd name="T102" fmla="*/ 1833453356 w 937"/>
                <a:gd name="T103" fmla="*/ 1669346971 h 326"/>
                <a:gd name="T104" fmla="*/ 1833453356 w 937"/>
                <a:gd name="T105" fmla="*/ 487782985 h 326"/>
                <a:gd name="T106" fmla="*/ 1507507815 w 937"/>
                <a:gd name="T107" fmla="*/ 487782985 h 326"/>
                <a:gd name="T108" fmla="*/ 1507507815 w 937"/>
                <a:gd name="T109" fmla="*/ 1669346971 h 326"/>
                <a:gd name="T110" fmla="*/ 1507507815 w 937"/>
                <a:gd name="T111" fmla="*/ 307968761 h 326"/>
                <a:gd name="T112" fmla="*/ 1833453356 w 937"/>
                <a:gd name="T113" fmla="*/ 307968761 h 326"/>
                <a:gd name="T114" fmla="*/ 1833453356 w 937"/>
                <a:gd name="T115" fmla="*/ 42033339 h 326"/>
                <a:gd name="T116" fmla="*/ 1507507815 w 937"/>
                <a:gd name="T117" fmla="*/ 42033339 h 326"/>
                <a:gd name="T118" fmla="*/ 1507507815 w 937"/>
                <a:gd name="T119" fmla="*/ 307968761 h 32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</p:grp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96D2574F-E91E-46FE-B42D-B5DDB55C877C}"/>
              </a:ext>
            </a:extLst>
          </p:cNvPr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MSIPCMContentMarking" descr="{&quot;HashCode&quot;:238713050,&quot;Placement&quot;:&quot;Footer&quot;,&quot;Top&quot;:521.6203,&quot;Left&quot;:333.911743,&quot;SlideWidth&quot;:720,&quot;SlideHeight&quot;:540}">
            <a:extLst>
              <a:ext uri="{FF2B5EF4-FFF2-40B4-BE49-F238E27FC236}">
                <a16:creationId xmlns:a16="http://schemas.microsoft.com/office/drawing/2014/main" id="{E75EFCC3-3A40-4159-8123-C21E171D07E3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fr-FR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fr-FR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5"/>
    </p:custDataLst>
    <p:extLst>
      <p:ext uri="{BB962C8B-B14F-4D97-AF65-F5344CB8AC3E}">
        <p14:creationId xmlns:p14="http://schemas.microsoft.com/office/powerpoint/2010/main" val="3963739496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79" r:id="rId1"/>
    <p:sldLayoutId id="2147483680" r:id="rId2"/>
  </p:sldLayoutIdLst>
  <p:hf sldNum="0"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000" b="1" kern="1200">
          <a:solidFill>
            <a:srgbClr val="E64B00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9pPr>
    </p:titleStyle>
    <p:bodyStyle>
      <a:lvl1pPr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defRPr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4.pn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1">
            <a:extLst>
              <a:ext uri="{FF2B5EF4-FFF2-40B4-BE49-F238E27FC236}">
                <a16:creationId xmlns:a16="http://schemas.microsoft.com/office/drawing/2014/main" id="{108398AB-264B-4F00-A765-25298D7F5BCB}"/>
              </a:ext>
            </a:extLst>
          </p:cNvPr>
          <p:cNvGrpSpPr>
            <a:grpSpLocks/>
          </p:cNvGrpSpPr>
          <p:nvPr/>
        </p:nvGrpSpPr>
        <p:grpSpPr bwMode="auto">
          <a:xfrm>
            <a:off x="654050" y="1779588"/>
            <a:ext cx="7991475" cy="4055155"/>
            <a:chOff x="647700" y="1908175"/>
            <a:chExt cx="7991475" cy="3938588"/>
          </a:xfrm>
        </p:grpSpPr>
        <p:sp>
          <p:nvSpPr>
            <p:cNvPr id="26" name="Rechteck 3">
              <a:extLst>
                <a:ext uri="{FF2B5EF4-FFF2-40B4-BE49-F238E27FC236}">
                  <a16:creationId xmlns:a16="http://schemas.microsoft.com/office/drawing/2014/main" id="{C2E49416-2DE8-4D1B-AE0B-397E831D1426}"/>
                </a:ext>
              </a:extLst>
            </p:cNvPr>
            <p:cNvSpPr/>
            <p:nvPr/>
          </p:nvSpPr>
          <p:spPr>
            <a:xfrm>
              <a:off x="647700" y="1908175"/>
              <a:ext cx="3889375" cy="400050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lvl="0">
                <a:spcBef>
                  <a:spcPts val="300"/>
                </a:spcBef>
                <a:buClr>
                  <a:srgbClr val="FF6600"/>
                </a:buClr>
                <a:defRPr/>
              </a:pPr>
              <a:r>
                <a:rPr lang="en-GB" sz="1400" b="1" dirty="0">
                  <a:solidFill>
                    <a:srgbClr val="FFFFFF"/>
                  </a:solidFill>
                </a:rPr>
                <a:t>VALEUR ET AVANTAGES</a:t>
              </a:r>
              <a:endParaRPr lang="fr-FR" sz="1400" b="1" dirty="0">
                <a:solidFill>
                  <a:srgbClr val="FFFFFF"/>
                </a:solidFill>
                <a:ea typeface="MS PGothic" pitchFamily="34" charset="-128"/>
              </a:endParaRPr>
            </a:p>
          </p:txBody>
        </p:sp>
        <p:sp>
          <p:nvSpPr>
            <p:cNvPr id="27" name="Rechteck 4">
              <a:extLst>
                <a:ext uri="{FF2B5EF4-FFF2-40B4-BE49-F238E27FC236}">
                  <a16:creationId xmlns:a16="http://schemas.microsoft.com/office/drawing/2014/main" id="{EF5FA875-E6A5-46BA-BA64-FAF6CF5BFFD8}"/>
                </a:ext>
              </a:extLst>
            </p:cNvPr>
            <p:cNvSpPr>
              <a:spLocks/>
            </p:cNvSpPr>
            <p:nvPr/>
          </p:nvSpPr>
          <p:spPr>
            <a:xfrm>
              <a:off x="647700" y="2308225"/>
              <a:ext cx="3889375" cy="353853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182563" indent="-182563" eaLnBrk="1" hangingPunct="1">
                <a:spcBef>
                  <a:spcPct val="45000"/>
                </a:spcBef>
                <a:buClr>
                  <a:srgbClr val="E64B00"/>
                </a:buClr>
                <a:buFont typeface="Wingdings" charset="2"/>
                <a:buChar char="§"/>
                <a:defRPr/>
              </a:pPr>
              <a:endParaRPr lang="en-US" altLang="x-none" sz="1050" dirty="0">
                <a:solidFill>
                  <a:srgbClr val="000000"/>
                </a:solidFill>
              </a:endParaRPr>
            </a:p>
          </p:txBody>
        </p:sp>
        <p:sp>
          <p:nvSpPr>
            <p:cNvPr id="28" name="Rechteck 11">
              <a:extLst>
                <a:ext uri="{FF2B5EF4-FFF2-40B4-BE49-F238E27FC236}">
                  <a16:creationId xmlns:a16="http://schemas.microsoft.com/office/drawing/2014/main" id="{5EE8EE76-8218-4370-82A9-B049E9890DF1}"/>
                </a:ext>
              </a:extLst>
            </p:cNvPr>
            <p:cNvSpPr/>
            <p:nvPr/>
          </p:nvSpPr>
          <p:spPr>
            <a:xfrm>
              <a:off x="4749800" y="1908175"/>
              <a:ext cx="3889375" cy="400050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marL="190500" indent="-190500" eaLnBrk="1" hangingPunct="1">
                <a:spcBef>
                  <a:spcPts val="300"/>
                </a:spcBef>
                <a:buClr>
                  <a:srgbClr val="E64B00"/>
                </a:buClr>
                <a:defRPr/>
              </a:pPr>
              <a:r>
                <a:rPr lang="de-CH" altLang="fr-FR" sz="14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DESCRIPTION</a:t>
              </a:r>
            </a:p>
          </p:txBody>
        </p:sp>
        <p:sp>
          <p:nvSpPr>
            <p:cNvPr id="29" name="Rechteck 12">
              <a:extLst>
                <a:ext uri="{FF2B5EF4-FFF2-40B4-BE49-F238E27FC236}">
                  <a16:creationId xmlns:a16="http://schemas.microsoft.com/office/drawing/2014/main" id="{EE359A63-2C51-4631-950C-1748AC6C9D3F}"/>
                </a:ext>
              </a:extLst>
            </p:cNvPr>
            <p:cNvSpPr>
              <a:spLocks/>
            </p:cNvSpPr>
            <p:nvPr/>
          </p:nvSpPr>
          <p:spPr>
            <a:xfrm>
              <a:off x="4749800" y="2305050"/>
              <a:ext cx="3889375" cy="3541713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182563" lvl="1" indent="-182563" eaLnBrk="1" hangingPunct="1">
                <a:spcBef>
                  <a:spcPts val="300"/>
                </a:spcBef>
                <a:buClr>
                  <a:srgbClr val="E64B00"/>
                </a:buClr>
                <a:buSzPct val="100000"/>
                <a:buFont typeface="Wingdings" charset="2"/>
                <a:buChar char="§"/>
                <a:tabLst>
                  <a:tab pos="2974975" algn="l"/>
                  <a:tab pos="3151188" algn="l"/>
                </a:tabLst>
                <a:defRPr/>
              </a:pPr>
              <a:endParaRPr lang="en-US" altLang="x-none" sz="1050" dirty="0">
                <a:solidFill>
                  <a:srgbClr val="000000"/>
                </a:solidFill>
              </a:endParaRPr>
            </a:p>
          </p:txBody>
        </p:sp>
      </p:grpSp>
      <p:graphicFrame>
        <p:nvGraphicFramePr>
          <p:cNvPr id="19458" name="Objek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04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19458" name="Objek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476" name="Title 1"/>
          <p:cNvSpPr>
            <a:spLocks noGrp="1"/>
          </p:cNvSpPr>
          <p:nvPr>
            <p:ph type="title"/>
          </p:nvPr>
        </p:nvSpPr>
        <p:spPr>
          <a:xfrm>
            <a:off x="647700" y="293235"/>
            <a:ext cx="7993063" cy="461665"/>
          </a:xfrm>
        </p:spPr>
        <p:txBody>
          <a:bodyPr/>
          <a:lstStyle/>
          <a:p>
            <a:r>
              <a:rPr lang="fr-FR" dirty="0"/>
              <a:t>Anticiper la pénurie des pièces de rechange</a:t>
            </a:r>
          </a:p>
        </p:txBody>
      </p:sp>
      <p:sp>
        <p:nvSpPr>
          <p:cNvPr id="19477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58921" y="1465740"/>
            <a:ext cx="7997825" cy="307975"/>
          </a:xfrm>
        </p:spPr>
        <p:txBody>
          <a:bodyPr/>
          <a:lstStyle/>
          <a:p>
            <a:r>
              <a:rPr lang="fr-FR" dirty="0"/>
              <a:t>Nouvel automate S7-1500</a:t>
            </a:r>
          </a:p>
        </p:txBody>
      </p:sp>
      <p:sp>
        <p:nvSpPr>
          <p:cNvPr id="19479" name="BainBulletsConfiguration" hidden="1"/>
          <p:cNvSpPr txBox="1">
            <a:spLocks noChangeArrowheads="1"/>
          </p:cNvSpPr>
          <p:nvPr/>
        </p:nvSpPr>
        <p:spPr bwMode="auto">
          <a:xfrm>
            <a:off x="12700" y="12700"/>
            <a:ext cx="0" cy="15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en-US" altLang="fr-FR" sz="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44937" y="2188209"/>
            <a:ext cx="3866263" cy="342093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36922" lvl="0" indent="-136922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fr-FR" sz="1050" dirty="0">
                <a:solidFill>
                  <a:srgbClr val="000000"/>
                </a:solidFill>
              </a:rPr>
              <a:t>Optimisation des performances.</a:t>
            </a:r>
          </a:p>
          <a:p>
            <a:pPr marL="136922" lvl="0" indent="-136922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fr-FR" sz="1050" dirty="0">
                <a:solidFill>
                  <a:srgbClr val="000000"/>
                </a:solidFill>
              </a:rPr>
              <a:t>Augmentation de la fiabilité et de la productivité.</a:t>
            </a:r>
          </a:p>
          <a:p>
            <a:pPr marL="136922" lvl="0" indent="-136922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fr-FR" sz="1050" dirty="0">
                <a:solidFill>
                  <a:srgbClr val="000000"/>
                </a:solidFill>
              </a:rPr>
              <a:t>Design fonctionnel, manipulation simple et convivialité maximale dans de nombreux détails nouveaux : cavaliers de potentiel intégrés, éléments de blindage pouvant être montés sans outils, connecteurs frontaux uniformes, étiquetage ergonomique des bornes.</a:t>
            </a:r>
          </a:p>
          <a:p>
            <a:pPr marL="136922" lvl="0" indent="-136922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fr-FR" sz="1050" dirty="0">
                <a:solidFill>
                  <a:srgbClr val="000000"/>
                </a:solidFill>
              </a:rPr>
              <a:t>Autonomie du personnel d'entretien.</a:t>
            </a:r>
          </a:p>
          <a:p>
            <a:pPr marL="136922" lvl="0" indent="-136922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fr-FR" sz="1050" dirty="0">
                <a:solidFill>
                  <a:srgbClr val="000000"/>
                </a:solidFill>
              </a:rPr>
              <a:t>Capacité de mémoire accrue permettant des tailles de format supplémentaires.</a:t>
            </a:r>
          </a:p>
          <a:p>
            <a:pPr marL="136922" lvl="0" indent="-136922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fr-FR" sz="1050" dirty="0">
                <a:solidFill>
                  <a:srgbClr val="000000"/>
                </a:solidFill>
              </a:rPr>
              <a:t>Nouvelles fonctionnalités possibles en option (réglages plus précis, temps de réponse plus courts, et temps de traitement des commandes jusqu'à 1ns dans le CPU).</a:t>
            </a:r>
          </a:p>
          <a:p>
            <a:pPr marL="136922" lvl="0" indent="-136922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fr-FR" sz="1050" dirty="0">
                <a:solidFill>
                  <a:srgbClr val="000000"/>
                </a:solidFill>
              </a:rPr>
              <a:t>Diagnostic facilité pour la maintenance.</a:t>
            </a:r>
          </a:p>
          <a:p>
            <a:pPr marL="136922" lvl="0" indent="-136922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fr-FR" sz="1050" dirty="0">
                <a:solidFill>
                  <a:srgbClr val="000000"/>
                </a:solidFill>
              </a:rPr>
              <a:t>Haut niveau de sûreté et de sécurité</a:t>
            </a:r>
          </a:p>
          <a:p>
            <a:pPr marL="136922" lvl="0" indent="-136922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fr-FR" sz="1050" dirty="0">
                <a:solidFill>
                  <a:srgbClr val="000000"/>
                </a:solidFill>
              </a:rPr>
              <a:t>Augmentation du cycle de vie de la machine de plus de 50 000h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F44C1F8-6FC3-4515-B08E-1A90733BAFE7}"/>
              </a:ext>
            </a:extLst>
          </p:cNvPr>
          <p:cNvSpPr/>
          <p:nvPr/>
        </p:nvSpPr>
        <p:spPr>
          <a:xfrm>
            <a:off x="4726269" y="2176463"/>
            <a:ext cx="3910143" cy="8207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36922" lvl="1" indent="-136922">
              <a:spcBef>
                <a:spcPts val="225"/>
              </a:spcBef>
              <a:buClr>
                <a:srgbClr val="E64B00"/>
              </a:buClr>
              <a:buSzPct val="100000"/>
              <a:buFont typeface="Wingdings" charset="2"/>
              <a:buChar char="§"/>
              <a:tabLst>
                <a:tab pos="2231231" algn="l"/>
                <a:tab pos="2363391" algn="l"/>
              </a:tabLst>
              <a:defRPr/>
            </a:pPr>
            <a:r>
              <a:rPr lang="fr-FR" sz="1100" dirty="0">
                <a:solidFill>
                  <a:srgbClr val="000000"/>
                </a:solidFill>
              </a:rPr>
              <a:t>Fourniture de Siemens PLC S7-1500 de la dernière technologie.</a:t>
            </a:r>
          </a:p>
          <a:p>
            <a:pPr marL="136922" lvl="1" indent="-136922">
              <a:spcBef>
                <a:spcPts val="225"/>
              </a:spcBef>
              <a:buClr>
                <a:srgbClr val="E64B00"/>
              </a:buClr>
              <a:buSzPct val="100000"/>
              <a:buFont typeface="Wingdings" charset="2"/>
              <a:buChar char="§"/>
              <a:tabLst>
                <a:tab pos="2231231" algn="l"/>
                <a:tab pos="2363391" algn="l"/>
              </a:tabLst>
              <a:defRPr/>
            </a:pPr>
            <a:r>
              <a:rPr lang="fr-FR" sz="1100" dirty="0">
                <a:solidFill>
                  <a:srgbClr val="000000"/>
                </a:solidFill>
              </a:rPr>
              <a:t>Installé avec le contrôleur TIA Portal</a:t>
            </a:r>
          </a:p>
          <a:p>
            <a:pPr marL="136922" lvl="1" indent="-136922">
              <a:spcBef>
                <a:spcPts val="225"/>
              </a:spcBef>
              <a:buClr>
                <a:srgbClr val="E64B00"/>
              </a:buClr>
              <a:buSzPct val="100000"/>
              <a:buFont typeface="Wingdings" charset="2"/>
              <a:buChar char="§"/>
              <a:tabLst>
                <a:tab pos="2231231" algn="l"/>
                <a:tab pos="2363391" algn="l"/>
              </a:tabLst>
              <a:defRPr/>
            </a:pPr>
            <a:r>
              <a:rPr lang="fr-FR" sz="1100" dirty="0">
                <a:solidFill>
                  <a:srgbClr val="000000"/>
                </a:solidFill>
              </a:rPr>
              <a:t>Licence d'achat direct par le client chez Siemens</a:t>
            </a:r>
          </a:p>
        </p:txBody>
      </p:sp>
      <p:sp>
        <p:nvSpPr>
          <p:cNvPr id="33" name="Text Placeholder 2">
            <a:extLst>
              <a:ext uri="{FF2B5EF4-FFF2-40B4-BE49-F238E27FC236}">
                <a16:creationId xmlns:a16="http://schemas.microsoft.com/office/drawing/2014/main" id="{A83AC377-0188-413C-936E-E74C8CBE01B5}"/>
              </a:ext>
            </a:extLst>
          </p:cNvPr>
          <p:cNvSpPr txBox="1">
            <a:spLocks/>
          </p:cNvSpPr>
          <p:nvPr/>
        </p:nvSpPr>
        <p:spPr bwMode="auto">
          <a:xfrm>
            <a:off x="668447" y="5901302"/>
            <a:ext cx="7978775" cy="4312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ct val="200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82563" indent="-182563">
              <a:spcBef>
                <a:spcPts val="12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357188" indent="-174625">
              <a:buClr>
                <a:srgbClr val="E64B00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539750" indent="-182563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14375" indent="-174625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1715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287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0859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431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lvl="0">
              <a:defRPr/>
            </a:pPr>
            <a:r>
              <a:rPr kumimoji="0" lang="fr-FR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Valeur : </a:t>
            </a:r>
            <a:r>
              <a:rPr lang="fr-FR" sz="800" dirty="0">
                <a:solidFill>
                  <a:srgbClr val="000000"/>
                </a:solidFill>
              </a:rPr>
              <a:t>Obsolescence, </a:t>
            </a:r>
            <a:r>
              <a:rPr lang="en-US" sz="800" kern="0" noProof="1">
                <a:solidFill>
                  <a:srgbClr val="000000"/>
                </a:solidFill>
                <a:latin typeface="Arial"/>
              </a:rPr>
              <a:t>Rendement</a:t>
            </a:r>
            <a:endParaRPr kumimoji="0" lang="fr-FR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  <a:p>
            <a:pPr lvl="0">
              <a:defRPr/>
            </a:pPr>
            <a:r>
              <a:rPr kumimoji="0" lang="fr-FR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Équipements : </a:t>
            </a:r>
            <a:r>
              <a:rPr lang="fr-FR" sz="800" kern="0" dirty="0"/>
              <a:t>Tout l'équipement d'emballage (sauf le palettiseur P4)</a:t>
            </a:r>
            <a:r>
              <a:rPr lang="en-US" sz="800" kern="0" dirty="0"/>
              <a:t> </a:t>
            </a:r>
            <a:endParaRPr kumimoji="0" lang="fr-FR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Code catalogue : CLC-055</a:t>
            </a:r>
          </a:p>
        </p:txBody>
      </p:sp>
      <p:pic>
        <p:nvPicPr>
          <p:cNvPr id="20" name="Image 2" descr="image003">
            <a:extLst>
              <a:ext uri="{FF2B5EF4-FFF2-40B4-BE49-F238E27FC236}">
                <a16:creationId xmlns:a16="http://schemas.microsoft.com/office/drawing/2014/main" id="{D4BEEF4F-B93B-4E00-B2C0-44036560B09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68892" y="3339953"/>
            <a:ext cx="2621372" cy="1213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Image 32">
            <a:extLst>
              <a:ext uri="{FF2B5EF4-FFF2-40B4-BE49-F238E27FC236}">
                <a16:creationId xmlns:a16="http://schemas.microsoft.com/office/drawing/2014/main" id="{6D5D5F8F-3EE0-4A1C-A0D5-81E12C4A019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423388" y="4598251"/>
            <a:ext cx="2666876" cy="11170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508841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COUNT" val="13"/>
  <p:tag name="ARTICULATE_PROJECT_OPEN" val="0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NewSidel_Template_4x3_with add layouts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NewSidel_Template_4x3_v10_FINAL.potx" id="{6B388DF2-1B4D-4AB9-B9B5-FAFCF51DED0E}" vid="{83DBA8D9-CEC6-4E0F-89EE-7CD510D47F2C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Sidel_Template_16x9_SHORT_2019</Template>
  <TotalTime>2963</TotalTime>
  <Words>159</Words>
  <Application>Microsoft Office PowerPoint</Application>
  <PresentationFormat>On-screen Show (4:3)</PresentationFormat>
  <Paragraphs>19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MS PGothic</vt:lpstr>
      <vt:lpstr>Arial</vt:lpstr>
      <vt:lpstr>Wingdings</vt:lpstr>
      <vt:lpstr>1_NewSidel_Template_4x3_with add layouts</vt:lpstr>
      <vt:lpstr>think-cell Folie</vt:lpstr>
      <vt:lpstr>Anticiper la pénurie des pièces de rechange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&amp;C Commercial Price</dc:title>
  <dc:creator>Luca.Moschini@sidel.com</dc:creator>
  <cp:lastModifiedBy>Sorega, Dan</cp:lastModifiedBy>
  <cp:revision>295</cp:revision>
  <dcterms:created xsi:type="dcterms:W3CDTF">2019-02-20T10:39:16Z</dcterms:created>
  <dcterms:modified xsi:type="dcterms:W3CDTF">2021-06-09T13:44:4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94480757-a570-4f64-84e7-c5b3ffe9d573_Enabled">
    <vt:lpwstr>true</vt:lpwstr>
  </property>
  <property fmtid="{D5CDD505-2E9C-101B-9397-08002B2CF9AE}" pid="5" name="MSIP_Label_94480757-a570-4f64-84e7-c5b3ffe9d573_SetDate">
    <vt:lpwstr>2021-06-09T13:44:43Z</vt:lpwstr>
  </property>
  <property fmtid="{D5CDD505-2E9C-101B-9397-08002B2CF9AE}" pid="6" name="MSIP_Label_94480757-a570-4f64-84e7-c5b3ffe9d573_Method">
    <vt:lpwstr>Standard</vt:lpwstr>
  </property>
  <property fmtid="{D5CDD505-2E9C-101B-9397-08002B2CF9AE}" pid="7" name="MSIP_Label_94480757-a570-4f64-84e7-c5b3ffe9d573_Name">
    <vt:lpwstr>General</vt:lpwstr>
  </property>
  <property fmtid="{D5CDD505-2E9C-101B-9397-08002B2CF9AE}" pid="8" name="MSIP_Label_94480757-a570-4f64-84e7-c5b3ffe9d573_SiteId">
    <vt:lpwstr>2390cbd1-e663-4321-bc93-ba298637ce52</vt:lpwstr>
  </property>
  <property fmtid="{D5CDD505-2E9C-101B-9397-08002B2CF9AE}" pid="9" name="MSIP_Label_94480757-a570-4f64-84e7-c5b3ffe9d573_ActionId">
    <vt:lpwstr/>
  </property>
  <property fmtid="{D5CDD505-2E9C-101B-9397-08002B2CF9AE}" pid="10" name="MSIP_Label_94480757-a570-4f64-84e7-c5b3ffe9d573_ContentBits">
    <vt:lpwstr>2</vt:lpwstr>
  </property>
</Properties>
</file>